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67" d="100"/>
          <a:sy n="67" d="100"/>
        </p:scale>
        <p:origin x="64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da-DK"/>
              <a:t>Klik for at redigere titeltypografien i masteren</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a:t>Klik for at redigere undertiteltypografien i mastere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da-DK"/>
              <a:t>Klik for at redigere titeltypografien i masteren</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10/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1"/>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xmlns=""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da-DK"/>
              <a:t>Klik for at redigere titeltypografien i masteren</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10/1/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1"/>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Opvækkelsen af enkens søn i </a:t>
            </a:r>
            <a:r>
              <a:rPr lang="da-DK" dirty="0" err="1"/>
              <a:t>Nain</a:t>
            </a:r>
            <a:endParaRPr lang="da-DK" dirty="0"/>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a:bodyPr>
          <a:lstStyle/>
          <a:p>
            <a:r>
              <a:rPr lang="da-DK" dirty="0"/>
              <a:t>Denne beretning fortæller om en kvinde i frit fald. Hun har mistet både mand og sin eneste søn, dvs. begge sine forsørgere – hendes fremtid er derfor meget usikker. Hun er opfyldt af sorg og henvender sig ikke til Jesus, da hendes sørgetog og Jesu følge mødes. På denne måde adskiller denne beretning sig fra andre beretninger om undere, hvor folk henvender sig til Jesus. Alligevel ser vi i denne beretning et under. Enken har ikke kraft og magt til at handle, men det har til gengæld Jesus. Jesu handlen er udtrykt i tekstens udsagnsord – se konklusion. Jesu under bliver et tegn for lokalbefolkningen, men også for os, da underet peger på Jesu egen opstandelse og sejr over døden, så åbner for muligheden for et evigt liv med Gud.</a:t>
            </a:r>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Luk. 7, 11-17</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200" dirty="0"/>
              <a:t>Jesus </a:t>
            </a:r>
            <a:r>
              <a:rPr lang="da-DK" sz="1200" b="1" dirty="0"/>
              <a:t>ser</a:t>
            </a:r>
            <a:r>
              <a:rPr lang="da-DK" sz="1200" dirty="0"/>
              <a:t> os – ikke med fordømmende, men et kærligt blik. Jesus </a:t>
            </a:r>
            <a:r>
              <a:rPr lang="da-DK" sz="1200" b="1" dirty="0"/>
              <a:t>ynkes </a:t>
            </a:r>
            <a:r>
              <a:rPr lang="da-DK" sz="1200" dirty="0"/>
              <a:t>over os – han kender vores virkelighed, da han selv har gået på jorden. Jesus </a:t>
            </a:r>
            <a:r>
              <a:rPr lang="da-DK" sz="1200" b="1" dirty="0"/>
              <a:t>taler</a:t>
            </a:r>
            <a:r>
              <a:rPr lang="da-DK" sz="1200" dirty="0"/>
              <a:t> til os – fra en anden virkelighed, end vi kan se. Jesus </a:t>
            </a:r>
            <a:r>
              <a:rPr lang="da-DK" sz="1200" b="1" dirty="0"/>
              <a:t>rører</a:t>
            </a:r>
            <a:r>
              <a:rPr lang="da-DK" sz="1200" dirty="0"/>
              <a:t> os – også når vi af den ene eller anden grund føler os urørlige. Jesus </a:t>
            </a:r>
            <a:r>
              <a:rPr lang="da-DK" sz="1200" b="1" dirty="0"/>
              <a:t>giver</a:t>
            </a:r>
            <a:r>
              <a:rPr lang="da-DK" sz="1200" dirty="0"/>
              <a:t> sig selv til os og </a:t>
            </a:r>
            <a:r>
              <a:rPr lang="da-DK" sz="1200"/>
              <a:t>giver os det </a:t>
            </a:r>
            <a:r>
              <a:rPr lang="da-DK" sz="1200" dirty="0"/>
              <a:t>evige liv.</a:t>
            </a:r>
            <a:endParaRPr lang="da-DK" sz="1200" b="1"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endParaRPr lang="da-DK" dirty="0"/>
          </a:p>
          <a:p>
            <a:r>
              <a:rPr lang="da-DK" sz="1200" dirty="0"/>
              <a:t>Jesus rører ved den dødes båre, altså det, ingen andre vil røre ved. Hvad lærer det os om Jesus i dag?</a:t>
            </a:r>
          </a:p>
          <a:p>
            <a:r>
              <a:rPr lang="da-DK" dirty="0"/>
              <a:t>Hvornår kan man som menneske føle sig urørlig?</a:t>
            </a:r>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200" dirty="0"/>
              <a:t>Bed for nutidens fremmede, enker og faderløse. Alle den som pga</a:t>
            </a:r>
            <a:r>
              <a:rPr lang="da-DK" dirty="0"/>
              <a:t>. krig og naturkatastrofer har mistet familie, forsørgere og fremtid.</a:t>
            </a:r>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Følg og grund over tanken, at Gud kommer til os , før vi kommer til ham. Læs 1.mosebog 1, 31, Sl. 139, 13-18, Rom. 5, 6-9, 1. Joh. 4, 10 og 19</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k">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Prædiken 29.11.20201 PAGER" id="{345F1684-2561-2B4F-8DAE-1715D5B2AE66}" vid="{43EDFB2B-7DD1-484B-9D19-7D6F41400DFF}"/>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Skabelon til one pager</Template>
  <TotalTime>35</TotalTime>
  <Words>339</Words>
  <Application>Microsoft Office PowerPoint</Application>
  <PresentationFormat>Widescreen</PresentationFormat>
  <Paragraphs>9</Paragraphs>
  <Slides>1</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6" baseType="lpstr">
      <vt:lpstr>Century Gothic</vt:lpstr>
      <vt:lpstr>Verdana</vt:lpstr>
      <vt:lpstr>Wingdings 3</vt:lpstr>
      <vt:lpstr>Visk</vt:lpstr>
      <vt:lpstr>think-cell Slide</vt:lpstr>
      <vt:lpstr>Opvækkelsen af enkens søn i Na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k for at indsætte titel på prædiken</dc:title>
  <dc:creator>Anders Gjesing</dc:creator>
  <cp:lastModifiedBy>Anders Gjesing</cp:lastModifiedBy>
  <cp:revision>2</cp:revision>
  <dcterms:created xsi:type="dcterms:W3CDTF">2023-10-01T05:28:29Z</dcterms:created>
  <dcterms:modified xsi:type="dcterms:W3CDTF">2023-10-01T06:0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